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422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7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7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336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4 July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0638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1">
            <a:extLst>
              <a:ext uri="{FF2B5EF4-FFF2-40B4-BE49-F238E27FC236}">
                <a16:creationId xmlns:a16="http://schemas.microsoft.com/office/drawing/2014/main" id="{DF4ED6F1-9F10-4100-BEE1-45738084F82C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63441"/>
            <a:ext cx="7991475" cy="4127500"/>
            <a:chOff x="647700" y="1908175"/>
            <a:chExt cx="7991475" cy="3938588"/>
          </a:xfrm>
        </p:grpSpPr>
        <p:sp>
          <p:nvSpPr>
            <p:cNvPr id="27" name="Rechteck 3">
              <a:extLst>
                <a:ext uri="{FF2B5EF4-FFF2-40B4-BE49-F238E27FC236}">
                  <a16:creationId xmlns:a16="http://schemas.microsoft.com/office/drawing/2014/main" id="{6F054AA7-6BF4-4CFB-A1FE-BF066D1D6CA1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28" name="Rechteck 4">
              <a:extLst>
                <a:ext uri="{FF2B5EF4-FFF2-40B4-BE49-F238E27FC236}">
                  <a16:creationId xmlns:a16="http://schemas.microsoft.com/office/drawing/2014/main" id="{85D09808-A39F-44AC-A1A3-8A0BF97291E6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marR="0" lvl="0" indent="-182563" algn="l" defTabSz="914400" rtl="0" eaLnBrk="1" fontAlgn="auto" latinLnBrk="0" hangingPunct="1">
                <a:lnSpc>
                  <a:spcPct val="100000"/>
                </a:lnSpc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GB" altLang="x-non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11">
              <a:extLst>
                <a:ext uri="{FF2B5EF4-FFF2-40B4-BE49-F238E27FC236}">
                  <a16:creationId xmlns:a16="http://schemas.microsoft.com/office/drawing/2014/main" id="{A7DD93E3-C0C3-4C41-AE0C-7490058F9AD0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30" name="Rechteck 12">
              <a:extLst>
                <a:ext uri="{FF2B5EF4-FFF2-40B4-BE49-F238E27FC236}">
                  <a16:creationId xmlns:a16="http://schemas.microsoft.com/office/drawing/2014/main" id="{B0508F91-A667-46AE-8F25-675E062D3E7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marR="0" lvl="1" indent="-18256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kumimoji="0" lang="fr-FR" altLang="x-non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charset="-128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altLang="fr-FR" dirty="0"/>
              <a:t>Réduisez vos coûts de maintenance et améliorez votre rendement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5466"/>
            <a:ext cx="7997825" cy="307975"/>
          </a:xfrm>
        </p:spPr>
        <p:txBody>
          <a:bodyPr/>
          <a:lstStyle/>
          <a:p>
            <a:r>
              <a:rPr lang="en-US" dirty="0" err="1"/>
              <a:t>Pinces</a:t>
            </a:r>
            <a:r>
              <a:rPr lang="en-US" dirty="0"/>
              <a:t> pneumatiques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2609" y="2178197"/>
            <a:ext cx="38909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GB" sz="1200" b="1" dirty="0"/>
              <a:t>Maintenan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Les nouvelles pinces pneumatiques améliorent la durée de vie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Sont plus résistants aux choc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Moins de maintenanc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Réduction de l'usure des composants de la pin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fr-FR" sz="1200" dirty="0"/>
          </a:p>
          <a:p>
            <a:pPr>
              <a:buClr>
                <a:schemeClr val="accent4"/>
              </a:buClr>
            </a:pPr>
            <a:r>
              <a:rPr lang="fr-FR" sz="1200" b="1" dirty="0"/>
              <a:t>Rendemen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Prise et libération précises de la bouteille</a:t>
            </a: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51714"/>
            <a:ext cx="3889375" cy="239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L'ancienne pince a une membrane pneumatique TPE activée par une compression sur le goulot bouteille qui nécessite des remplacements assez fréquent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Avec la nouvelle pince, il n'y a plus de membrane mais des «doigts» à fonctionnement pneumatique / mécaniqu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La pince est plus résistante aux chocs avec la bouteill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Large plage de diamètre de goulot bouteille (ID = 35-42-48; OD = 52,5 - 58-65-72 mm).</a:t>
            </a:r>
            <a:endParaRPr lang="en-GB" sz="1200" dirty="0"/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555C730-7F16-452D-861A-8EFE3354A526}"/>
              </a:ext>
            </a:extLst>
          </p:cNvPr>
          <p:cNvPicPr/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127" y="4152928"/>
            <a:ext cx="685797" cy="15992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9D1144E-80CF-4D38-90AF-16B70F13FF93}"/>
              </a:ext>
            </a:extLst>
          </p:cNvPr>
          <p:cNvPicPr/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825" y="4187940"/>
            <a:ext cx="761322" cy="15210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Arrow: Right 24">
            <a:extLst>
              <a:ext uri="{FF2B5EF4-FFF2-40B4-BE49-F238E27FC236}">
                <a16:creationId xmlns:a16="http://schemas.microsoft.com/office/drawing/2014/main" id="{12B492ED-5D5F-4B73-94D6-291457166D4A}"/>
              </a:ext>
            </a:extLst>
          </p:cNvPr>
          <p:cNvSpPr/>
          <p:nvPr/>
        </p:nvSpPr>
        <p:spPr>
          <a:xfrm>
            <a:off x="6336238" y="4882098"/>
            <a:ext cx="685798" cy="214495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D458990-04A5-4B8A-A073-2E2886C300F2}"/>
              </a:ext>
            </a:extLst>
          </p:cNvPr>
          <p:cNvSpPr txBox="1">
            <a:spLocks/>
          </p:cNvSpPr>
          <p:nvPr/>
        </p:nvSpPr>
        <p:spPr bwMode="auto">
          <a:xfrm>
            <a:off x="654843" y="594322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Maintenance, rendement</a:t>
            </a:r>
          </a:p>
          <a:p>
            <a:pPr fontAlgn="base"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en-US" sz="800" dirty="0">
                <a:solidFill>
                  <a:srgbClr val="000000"/>
                </a:solidFill>
              </a:rPr>
              <a:t>Pal/</a:t>
            </a:r>
            <a:r>
              <a:rPr lang="en-US" sz="800" dirty="0" err="1">
                <a:solidFill>
                  <a:srgbClr val="000000"/>
                </a:solidFill>
              </a:rPr>
              <a:t>Depal</a:t>
            </a:r>
            <a:r>
              <a:rPr lang="en-US" sz="800" dirty="0">
                <a:solidFill>
                  <a:srgbClr val="000000"/>
                </a:solidFill>
              </a:rPr>
              <a:t> (PR)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OL-008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0</TotalTime>
  <Words>125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Réduisez vos coûts de maintenance et améliorez votre rendeme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84</cp:revision>
  <cp:lastPrinted>2019-06-12T12:46:07Z</cp:lastPrinted>
  <dcterms:created xsi:type="dcterms:W3CDTF">2017-07-10T14:51:51Z</dcterms:created>
  <dcterms:modified xsi:type="dcterms:W3CDTF">2020-07-24T13:3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andrea.pedretti@gebocermex.com</vt:lpwstr>
  </property>
  <property fmtid="{D5CDD505-2E9C-101B-9397-08002B2CF9AE}" pid="7" name="MSIP_Label_94480757-a570-4f64-84e7-c5b3ffe9d573_SetDate">
    <vt:lpwstr>2019-05-30T13:19:45.612361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1f25b6fc-49ab-4edd-ab0d-a19355d82709_Enabled">
    <vt:lpwstr>True</vt:lpwstr>
  </property>
  <property fmtid="{D5CDD505-2E9C-101B-9397-08002B2CF9AE}" pid="12" name="MSIP_Label_1f25b6fc-49ab-4edd-ab0d-a19355d82709_SiteId">
    <vt:lpwstr>2390cbd1-e663-4321-bc93-ba298637ce52</vt:lpwstr>
  </property>
  <property fmtid="{D5CDD505-2E9C-101B-9397-08002B2CF9AE}" pid="13" name="MSIP_Label_1f25b6fc-49ab-4edd-ab0d-a19355d82709_Owner">
    <vt:lpwstr>andrea.pedretti@gebocermex.com</vt:lpwstr>
  </property>
  <property fmtid="{D5CDD505-2E9C-101B-9397-08002B2CF9AE}" pid="14" name="MSIP_Label_1f25b6fc-49ab-4edd-ab0d-a19355d82709_SetDate">
    <vt:lpwstr>2018-12-20T11:02:58.8854259+01:00</vt:lpwstr>
  </property>
  <property fmtid="{D5CDD505-2E9C-101B-9397-08002B2CF9AE}" pid="15" name="MSIP_Label_1f25b6fc-49ab-4edd-ab0d-a19355d82709_Name">
    <vt:lpwstr>Sidel-Public</vt:lpwstr>
  </property>
  <property fmtid="{D5CDD505-2E9C-101B-9397-08002B2CF9AE}" pid="16" name="MSIP_Label_1f25b6fc-49ab-4edd-ab0d-a19355d82709_Application">
    <vt:lpwstr>Microsoft Azure Information Protection</vt:lpwstr>
  </property>
  <property fmtid="{D5CDD505-2E9C-101B-9397-08002B2CF9AE}" pid="17" name="MSIP_Label_1f25b6fc-49ab-4edd-ab0d-a19355d82709_Extended_MSFT_Method">
    <vt:lpwstr>Manual</vt:lpwstr>
  </property>
  <property fmtid="{D5CDD505-2E9C-101B-9397-08002B2CF9AE}" pid="18" name="Sensitivity">
    <vt:lpwstr>General Sidel-Public</vt:lpwstr>
  </property>
</Properties>
</file>